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tiff" ContentType="image/tif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25" r:id="rId2"/>
    <p:sldId id="626" r:id="rId3"/>
    <p:sldId id="628" r:id="rId4"/>
    <p:sldId id="608" r:id="rId5"/>
    <p:sldId id="609" r:id="rId6"/>
    <p:sldId id="629" r:id="rId7"/>
    <p:sldId id="630" r:id="rId8"/>
    <p:sldId id="612" r:id="rId9"/>
    <p:sldId id="631" r:id="rId10"/>
    <p:sldId id="634" r:id="rId11"/>
    <p:sldId id="636" r:id="rId12"/>
    <p:sldId id="637" r:id="rId13"/>
    <p:sldId id="632" r:id="rId14"/>
  </p:sldIdLst>
  <p:sldSz cx="12192000" cy="6858000"/>
  <p:notesSz cx="6805613" cy="9944100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64214"/>
    <a:srgbClr val="EAB200"/>
    <a:srgbClr val="ED7D31"/>
    <a:srgbClr val="2F5597"/>
    <a:srgbClr val="FFD966"/>
    <a:srgbClr val="00B0F0"/>
    <a:srgbClr val="FF99CC"/>
    <a:srgbClr val="00B050"/>
    <a:srgbClr val="B1BDF1"/>
    <a:srgbClr val="95E7E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4995" autoAdjust="0"/>
    <p:restoredTop sz="96296" autoAdjust="0"/>
  </p:normalViewPr>
  <p:slideViewPr>
    <p:cSldViewPr snapToGrid="0">
      <p:cViewPr varScale="1">
        <p:scale>
          <a:sx n="76" d="100"/>
          <a:sy n="76" d="100"/>
        </p:scale>
        <p:origin x="-504" y="-96"/>
      </p:cViewPr>
      <p:guideLst>
        <p:guide orient="horz" pos="890"/>
        <p:guide orient="horz" pos="1200"/>
        <p:guide pos="347"/>
        <p:guide pos="765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pPr/>
              <a:t>02.03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pPr/>
              <a:t>02.03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834F1D5-33B3-480A-A4E8-311841A67364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57888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FEB2F6-545A-4670-B897-4E5B0FC35E41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241724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F9092B0-3572-41E5-ACB1-B45717419603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644340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60B212FF-64EE-4B1E-93F4-6D09F2028D59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21930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0641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A05E6458-3F23-4BB8-8927-4CF002F6693B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0795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30C6EAE5-F4E0-42F4-B555-7EACBFF94179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312081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002E3F6-8D60-4247-BBA3-9C7DC97B6E68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115485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865415"/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32DD9FE-5FB0-4B08-98A1-3759FF442E5B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1962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BB47362D-FE5A-4A91-AE50-71A341E7497B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598571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73B6565E-B334-4A64-BADA-C56DA8B59DDC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507246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pPr/>
              <a:t>02.03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29089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7663" y="6377941"/>
            <a:ext cx="3903683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949" y="6377941"/>
            <a:ext cx="280577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26235216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pic>
        <p:nvPicPr>
          <p:cNvPr id="12" name="pasted-image.tiff" descr="pasted-image.tiff"/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/>
          </a:blip>
          <a:srcRect l="39743" r="39743" b="36077"/>
          <a:stretch>
            <a:fillRect/>
          </a:stretch>
        </p:blipFill>
        <p:spPr>
          <a:xfrm>
            <a:off x="11771619" y="1"/>
            <a:ext cx="318781" cy="333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xmlns="" val="134238855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xmlns="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10" name="Слайд think-cell" r:id="rId18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hyperlink" Target="https://edu.gov.ru/national-project/" TargetMode="Externa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5839"/>
          <a:stretch/>
        </p:blipFill>
        <p:spPr>
          <a:xfrm>
            <a:off x="-752757" y="0"/>
            <a:ext cx="12199293" cy="6843486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438" name="Слайд think-cell" r:id="rId7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8442" y="3169085"/>
            <a:ext cx="7628021" cy="1169551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2000" b="1" dirty="0" smtClean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Как говорил великий педагог XIX века  Константин Дмитриевич Ушинский: «Нельзя человека научить на всю жизнь, его надо научить учиться всю жизнь!».</a:t>
            </a:r>
            <a:r>
              <a:rPr lang="ru-RU" sz="2000" dirty="0" smtClean="0"/>
              <a:t/>
            </a:r>
            <a:br>
              <a:rPr lang="ru-RU" sz="2000" dirty="0" smtClean="0"/>
            </a:br>
            <a:endParaRPr lang="ru-RU" sz="2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1528175"/>
            <a:ext cx="8025063" cy="1689693"/>
          </a:xfrm>
        </p:spPr>
        <p:txBody>
          <a:bodyPr wrap="square" lIns="0" tIns="0" rIns="0" bIns="0">
            <a:spAutoFit/>
          </a:bodyPr>
          <a:lstStyle/>
          <a:p>
            <a:r>
              <a:rPr lang="ru-RU" b="1" dirty="0" smtClean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Тема: «Использование возможностей предметов «История» и «Обществознание» в формировании функциональной грамотности»</a:t>
            </a:r>
            <a:endParaRPr lang="ru-RU" dirty="0" smtClean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en-US" sz="45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-313151" y="5398718"/>
            <a:ext cx="721499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85000"/>
                  </a:schemeClr>
                </a:solidFill>
                <a:latin typeface="Times New Roman" pitchFamily="18" charset="0"/>
                <a:ea typeface="Open Sans Light" panose="020B0306030504020204" pitchFamily="34" charset="0"/>
                <a:cs typeface="Times New Roman" pitchFamily="18" charset="0"/>
              </a:rPr>
              <a:t>                            </a:t>
            </a:r>
            <a:r>
              <a:rPr lang="ru-RU" b="1" dirty="0" smtClean="0">
                <a:latin typeface="Times New Roman" pitchFamily="18" charset="0"/>
                <a:ea typeface="Open Sans Light" panose="020B0306030504020204" pitchFamily="34" charset="0"/>
                <a:cs typeface="Times New Roman" pitchFamily="18" charset="0"/>
              </a:rPr>
              <a:t>Автор </a:t>
            </a:r>
            <a:r>
              <a:rPr lang="ru-RU" b="1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  <a:r>
              <a:rPr lang="ru-RU" b="1" dirty="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</a:t>
            </a:r>
            <a:r>
              <a:rPr lang="ru-RU" sz="2000" b="1" dirty="0" smtClean="0">
                <a:latin typeface="Times New Roman" pitchFamily="18" charset="0"/>
                <a:ea typeface="Open Sans Light" panose="020B0306030504020204" pitchFamily="34" charset="0"/>
                <a:cs typeface="Times New Roman" pitchFamily="18" charset="0"/>
              </a:rPr>
              <a:t>учитель истории и обществознания </a:t>
            </a:r>
          </a:p>
          <a:p>
            <a:r>
              <a:rPr lang="ru-RU" sz="2000" b="1" dirty="0" smtClean="0">
                <a:latin typeface="Times New Roman" pitchFamily="18" charset="0"/>
                <a:ea typeface="Open Sans Light" panose="020B0306030504020204" pitchFamily="34" charset="0"/>
                <a:cs typeface="Times New Roman" pitchFamily="18" charset="0"/>
              </a:rPr>
              <a:t>                 Лыткина Александра Александровна</a:t>
            </a:r>
            <a:endParaRPr lang="ru-RU" sz="2000" b="1" dirty="0">
              <a:latin typeface="Times New Roman" pitchFamily="18" charset="0"/>
              <a:ea typeface="Open Sans Light" panose="020B0306030504020204" pitchFamily="34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048000" y="31058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-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-375781" y="450937"/>
            <a:ext cx="112859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-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БОУ «</a:t>
            </a:r>
            <a:r>
              <a:rPr lang="ru-RU" sz="2800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льичевская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СШ» Советского района</a:t>
            </a:r>
            <a:endParaRPr lang="ru-RU" sz="28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897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0711" name="Слайд think-cell" r:id="rId5" imgW="360" imgH="360" progId="">
              <p:embed/>
            </p:oleObj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F7FC2986-4132-4116-842E-EB7D4972ED67}"/>
              </a:ext>
            </a:extLst>
          </p:cNvPr>
          <p:cNvSpPr txBox="1"/>
          <p:nvPr/>
        </p:nvSpPr>
        <p:spPr>
          <a:xfrm>
            <a:off x="483215" y="1441364"/>
            <a:ext cx="10527505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/>
              <a:t>Функциональная грамотность. Тренажеры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01201" y="180576"/>
            <a:ext cx="928661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Функциональная Грамотность. </a:t>
            </a:r>
            <a:endParaRPr lang="ru-RU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ренажёры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0374692A-A8C8-433A-BF11-7C8E8130BB59}"/>
              </a:ext>
            </a:extLst>
          </p:cNvPr>
          <p:cNvSpPr/>
          <p:nvPr/>
        </p:nvSpPr>
        <p:spPr>
          <a:xfrm>
            <a:off x="8376988" y="2980096"/>
            <a:ext cx="2617806" cy="115416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Живые системы. 7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уки о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емле и Вселенной. </a:t>
            </a:r>
            <a:endParaRPr lang="ru-RU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7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зические системы. 7-9 классы</a:t>
            </a: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391658" y="2188359"/>
            <a:ext cx="2619062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декабре 2019 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1200" y="2299448"/>
            <a:ext cx="2437674" cy="341274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40" name="Содержимое 17"/>
          <p:cNvSpPr txBox="1">
            <a:spLocks/>
          </p:cNvSpPr>
          <p:nvPr/>
        </p:nvSpPr>
        <p:spPr>
          <a:xfrm>
            <a:off x="3016103" y="2256237"/>
            <a:ext cx="4936636" cy="2828193"/>
          </a:xfrm>
          <a:prstGeom prst="rect">
            <a:avLst/>
          </a:prstGeom>
        </p:spPr>
        <p:txBody>
          <a:bodyPr vert="horz" lIns="42844" tIns="42844" rIns="42844" bIns="42844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4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algn="l"/>
            <a:r>
              <a:rPr lang="ru-RU" sz="14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. </a:t>
            </a:r>
          </a:p>
          <a:p>
            <a:pPr algn="l"/>
            <a:r>
              <a:rPr lang="ru-RU" sz="14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0374692A-A8C8-433A-BF11-7C8E8130BB59}"/>
              </a:ext>
            </a:extLst>
          </p:cNvPr>
          <p:cNvSpPr/>
          <p:nvPr/>
        </p:nvSpPr>
        <p:spPr>
          <a:xfrm>
            <a:off x="8422373" y="5029636"/>
            <a:ext cx="2619062" cy="107721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поисках финансового равновесия. 6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8 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мерное чтение. 6-8 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422373" y="4271343"/>
            <a:ext cx="2619062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начале 2020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12634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2755" name="Слайд think-cell" r:id="rId5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36562" y="473293"/>
            <a:ext cx="9440454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Задачники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DA2D9AC4-09ED-41C8-9B7E-ABA991EBB706}"/>
              </a:ext>
            </a:extLst>
          </p:cNvPr>
          <p:cNvSpPr txBox="1"/>
          <p:nvPr/>
        </p:nvSpPr>
        <p:spPr>
          <a:xfrm>
            <a:off x="436562" y="1451628"/>
            <a:ext cx="1043284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/>
              <a:t>Функциональная грамотность. Задачники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5020" y="2488945"/>
            <a:ext cx="1681200" cy="226800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95" t="1733" r="5391" b="3923"/>
          <a:stretch/>
        </p:blipFill>
        <p:spPr bwMode="auto">
          <a:xfrm>
            <a:off x="1345542" y="3673374"/>
            <a:ext cx="1762371" cy="226765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3565584" y="2131253"/>
            <a:ext cx="4902273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функциональные задачники: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зволят учащимся существенно повысить уровень своей функциональной грамотности,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областям и расширить кругозор,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06114" y="2314146"/>
            <a:ext cx="1681200" cy="226799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Рисунок 70">
            <a:extLst>
              <a:ext uri="{FF2B5EF4-FFF2-40B4-BE49-F238E27FC236}">
                <a16:creationId xmlns:a16="http://schemas.microsoft.com/office/drawing/2014/main" xmlns="" id="{CAE9C929-47DA-4A70-A58F-FB9DE16F1F1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81887" y="3761273"/>
            <a:ext cx="1681200" cy="226800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28237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3784" name="Слайд think-cell" r:id="rId5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12633" y="223054"/>
            <a:ext cx="10502068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 в контексте национального проекта «Образование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DA2D9AC4-09ED-41C8-9B7E-ABA991EBB706}"/>
              </a:ext>
            </a:extLst>
          </p:cNvPr>
          <p:cNvSpPr txBox="1"/>
          <p:nvPr/>
        </p:nvSpPr>
        <p:spPr>
          <a:xfrm>
            <a:off x="512633" y="1530001"/>
            <a:ext cx="10474681" cy="9458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endParaRPr lang="ru-RU" dirty="0"/>
          </a:p>
          <a:p>
            <a:pPr marL="0"/>
            <a:r>
              <a:rPr lang="ru-RU" dirty="0"/>
              <a:t>Формируя функциональную грамотность обучающихся, мы решаем задачи стратегического развития Российской Федерации:</a:t>
            </a:r>
          </a:p>
          <a:p>
            <a:pPr marL="0"/>
            <a:endParaRPr lang="ru-RU" dirty="0"/>
          </a:p>
        </p:txBody>
      </p:sp>
      <p:sp>
        <p:nvSpPr>
          <p:cNvPr id="57" name="TextBox 56"/>
          <p:cNvSpPr txBox="1"/>
          <p:nvPr/>
        </p:nvSpPr>
        <p:spPr>
          <a:xfrm>
            <a:off x="572052" y="2643029"/>
            <a:ext cx="535632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силение </a:t>
            </a:r>
            <a:r>
              <a:rPr lang="ru-RU" sz="14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зиций Российской Федерации в глобальной конкуренции  путем развития человеческого потенциала как основного фактора экономического развития</a:t>
            </a:r>
            <a:r>
              <a:rPr lang="ru-RU" sz="1400" b="1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;</a:t>
            </a:r>
          </a:p>
          <a:p>
            <a:pPr algn="just"/>
            <a:endParaRPr lang="ru-RU" sz="1400" b="1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ехнологическое первенство на мировой арене, усиление роли инноваций в социально-экономическом развитии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710627" y="6039901"/>
            <a:ext cx="118395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ункциональная грамотность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 основа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жизненной и профессиональной успешности выпускников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!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5935903" y="2464319"/>
            <a:ext cx="5051411" cy="3408356"/>
            <a:chOff x="5939303" y="983978"/>
            <a:chExt cx="6184815" cy="4116026"/>
          </a:xfrm>
        </p:grpSpPr>
        <p:pic>
          <p:nvPicPr>
            <p:cNvPr id="62" name="Picture 18" descr="https://static.tildacdn.com/tild6239-3135-4666-b532-343761643437/karta-min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3164" y="983978"/>
              <a:ext cx="6170954" cy="4116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115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9303" y="2934536"/>
              <a:ext cx="285484" cy="355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9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0020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5604438" y="4212850"/>
            <a:ext cx="1671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ЛОК 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ДАНИЙ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tx2"/>
                </a:solidFill>
              </a:rPr>
              <a:pPr/>
              <a:t>13</a:t>
            </a:fld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00353" name="Rectangle 1"/>
          <p:cNvSpPr>
            <a:spLocks noChangeArrowheads="1"/>
          </p:cNvSpPr>
          <p:nvPr/>
        </p:nvSpPr>
        <p:spPr bwMode="auto">
          <a:xfrm>
            <a:off x="425885" y="1858108"/>
            <a:ext cx="10734805" cy="397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Таким образом, подобная система работы помогает формировать на уроках функциональную грамотность обучающихся, развивать основные умения и навыки, воспитывает внутреннюю самооценку, повышает учебную мотивацию учащихся. При формировании функциональной грамотности учитель выступает больше в роли организатора самостоятельной активной познавательной деятельности учащихся, компетентным консультантом и помощником.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СПАСИБО ЗА ВНИМАНИЕ!</a:t>
            </a:r>
            <a:endParaRPr kumimoji="0" lang="ru-RU" sz="2800" b="0" i="0" u="none" strike="noStrike" cap="none" normalizeH="0" baseline="0" dirty="0" smtClean="0">
              <a:ln>
                <a:noFill/>
              </a:ln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40242" y="348916"/>
            <a:ext cx="32593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270253" y="2030438"/>
            <a:ext cx="1213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22653" y="1431758"/>
            <a:ext cx="1213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422653" y="2182838"/>
            <a:ext cx="1213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779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3568" name="Слайд think-cell" r:id="rId5" imgW="360" imgH="360" progId="">
              <p:embed/>
            </p:oleObj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54967" y="408729"/>
            <a:ext cx="93898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ЦИОНАЛЬНЫЙ ПРОЕКТ 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РАЗОВАНИЕ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82389" y="5757534"/>
            <a:ext cx="46217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роки реализации: 01.01.2019 - 31.12.2024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496407" y="6596922"/>
            <a:ext cx="156324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  <a:hlinkClick r:id="rId6"/>
              </a:rPr>
              <a:t>*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hlinkClick r:id="rId6"/>
              </a:rPr>
              <a:t>https://edu.gov.ru/national-project/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pic>
        <p:nvPicPr>
          <p:cNvPr id="63546" name="Picture 58" descr="base-valu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087232" y="1324864"/>
            <a:ext cx="2792599" cy="164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548" name="Picture 60" descr="base-valu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40774" y="3107805"/>
            <a:ext cx="2694160" cy="1589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3550" name="Picture 62" descr="base-valu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00456" y="4841901"/>
            <a:ext cx="2686840" cy="1584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3569" name="Rectangle 81"/>
          <p:cNvSpPr>
            <a:spLocks noChangeArrowheads="1"/>
          </p:cNvSpPr>
          <p:nvPr/>
        </p:nvSpPr>
        <p:spPr bwMode="auto">
          <a:xfrm>
            <a:off x="168443" y="1203159"/>
            <a:ext cx="8506326" cy="489364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настоящее время одной из задач, стоящих перед современной школой, является формирование функциональной грамотности. 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од функциональной грамотностью  понимают результат овладения учащимися системой предметных ключевых компетенций, позволяющих эффективно применять усвоенные знания в практической ситуации, способность вступать в отношения с внешней средой и максимально быстро адаптироваться и функционировать в ней. 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сновным видом контроля формирования</a:t>
            </a:r>
            <a:r>
              <a:rPr kumimoji="0" lang="ru-RU" sz="2400" b="0" i="0" u="none" strike="noStrike" cap="none" normalizeH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функциональной грамотности является выполнения заданий </a:t>
            </a: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 РЭШ </a:t>
            </a: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Но это лишь контроль, проверка, а формирование происходит в процессе обучения!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1436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96176" y="365162"/>
            <a:ext cx="97148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80648" y="1840832"/>
            <a:ext cx="10597019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ru-RU" sz="2400" b="1" u="sng" dirty="0" smtClean="0">
                <a:latin typeface="Times New Roman" pitchFamily="18" charset="0"/>
                <a:cs typeface="Times New Roman" pitchFamily="18" charset="0"/>
              </a:rPr>
              <a:t>Процесс овладения исторической грамотностью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: обучающиеся определяют временные рамки изучаемого периода, соотносят даты с веками, показывают на карте территориальное пространство изучаемого события, дают характеристику понятийному аппарату, анализируют роль личности в истории.</a:t>
            </a:r>
          </a:p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ru-RU" sz="2400" b="1" u="sng" dirty="0" smtClean="0">
                <a:latin typeface="Times New Roman" pitchFamily="18" charset="0"/>
                <a:cs typeface="Times New Roman" pitchFamily="18" charset="0"/>
              </a:rPr>
              <a:t>Процесс обучения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 -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усвоение исторических знаний происходит поэтапно, «от простого к сложному», от материала 5 класса (Древнейшие цивилизации) к темам в старших класса 20-21 вв. На протяжении всего процесса обучения используются интерактивные методы обучения: «мозговой штурм», работа в малых группах, творческие задания, интерактивная лекция, урок-экскурсия и другие.</a:t>
            </a:r>
          </a:p>
          <a:p>
            <a:pPr algn="ctr"/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Номер слайда 8"/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 smtClean="0">
                <a:solidFill>
                  <a:schemeClr val="tx1">
                    <a:tint val="75000"/>
                  </a:schemeClr>
                </a:solidFill>
              </a:rPr>
              <a:t>3</a:t>
            </a:r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070811" y="76984"/>
            <a:ext cx="103623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владение функциональной грамотностью на уроках истории и обществознания складывается из нескольких составляющих :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17649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70055" y="491706"/>
            <a:ext cx="97535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Средства формирования функциональной грамотности на уроках истории и обществознания:    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одзаголовок 2"/>
          <p:cNvSpPr txBox="1">
            <a:spLocks/>
          </p:cNvSpPr>
          <p:nvPr/>
        </p:nvSpPr>
        <p:spPr>
          <a:xfrm>
            <a:off x="252663" y="1431758"/>
            <a:ext cx="10551696" cy="41549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ru-RU" sz="3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пересказы (мифов, биографий, рассказов и т.д.);</a:t>
            </a:r>
          </a:p>
          <a:p>
            <a:pPr lvl="0" algn="ctr"/>
            <a:r>
              <a:rPr lang="ru-RU" sz="3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познавательные игры, викторины, уроки-дебаты;</a:t>
            </a:r>
          </a:p>
          <a:p>
            <a:pPr lvl="0" algn="ctr"/>
            <a:r>
              <a:rPr lang="ru-RU" sz="3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исторические и обществоведческие диктанты и эссе с их последующей коррекцией со стороны учителя;</a:t>
            </a:r>
          </a:p>
          <a:p>
            <a:pPr lvl="0" algn="ctr"/>
            <a:r>
              <a:rPr lang="ru-RU" sz="3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изучение исторических и правовых документов;</a:t>
            </a:r>
          </a:p>
          <a:p>
            <a:pPr lvl="0" algn="ctr"/>
            <a:r>
              <a:rPr lang="ru-RU" sz="3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чтение вариативных источников;</a:t>
            </a:r>
          </a:p>
          <a:p>
            <a:pPr lvl="0" algn="ctr"/>
            <a:r>
              <a:rPr lang="ru-RU" sz="3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исследовательские работы в форме презентаций, рефератов, социологических опросов, проектов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ru-RU" sz="1400" b="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2513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66561" name="Rectangle 1"/>
          <p:cNvSpPr>
            <a:spLocks noChangeArrowheads="1"/>
          </p:cNvSpPr>
          <p:nvPr/>
        </p:nvSpPr>
        <p:spPr bwMode="auto">
          <a:xfrm>
            <a:off x="0" y="0"/>
            <a:ext cx="11285621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1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мплекс учебных заданий по истории и обществознанию по формированию функциональной грамотности обучающихся 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45958" y="938467"/>
            <a:ext cx="11020926" cy="75713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ЧИТАТЕЛЬСКАЯ ГРАМОТНОСТЬ</a:t>
            </a:r>
          </a:p>
          <a:p>
            <a:pPr algn="ctr"/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имер заданий: 11 класс Тема: «Завершение эпохи индустриального общества 1945-1970гг»</a:t>
            </a: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дание . Прочитайте текст (пункт в параграфе) .</a:t>
            </a:r>
            <a:endParaRPr lang="ru-RU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Назовите две характерные черты «социально ориентированной экономики».</a:t>
            </a: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 50−70-е гг. XX в. государственное вмешательство в экономику в странах Европы и США носило всеобъемлющий характер. Надо было восстанавливать разрушенное войной хозяйство, наращивать экономический потенциал, усиливать конкурентоспособность своих стран.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 этот период возник значительный государственный сектор — на основе национализации ряда отраслей хозяйства или создания государственных предприятий в ведущих отраслях экономики. Увеличивалась доля государственных расходов и налогов.</a:t>
            </a:r>
            <a:r>
              <a:rPr lang="ru-RU" b="1" dirty="0" smtClean="0"/>
              <a:t> </a:t>
            </a:r>
          </a:p>
          <a:p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о обществознанию это может быть анализ любого документа.</a:t>
            </a: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Например: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бота с Конституцией РФ. </a:t>
            </a:r>
          </a:p>
          <a:p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дание: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зделите  права и свободы человека  по группам (гражданские, политические, экономические, социальные ,культурные).  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акже , можно привести пример заданий, где обучающиеся вставляют пропущенные слова в исторические документы или обществоведческие тексты , составляют план по прочитанному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ексту,исправляют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ошибки в тексте.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4574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4578" name="Слайд think-cell" r:id="rId5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97322" y="470893"/>
            <a:ext cx="1110112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лобальные компетенции и </a:t>
            </a:r>
            <a:r>
              <a:rPr lang="ru-RU" sz="3200" b="1" spc="-40" dirty="0" err="1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еативное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мышл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74938" y="1385108"/>
            <a:ext cx="1001003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endParaRPr lang="ru-RU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lnSpc>
                <a:spcPct val="90000"/>
              </a:lnSpc>
            </a:pPr>
            <a:endParaRPr lang="ru-RU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lnSpc>
                <a:spcPct val="90000"/>
              </a:lnSpc>
            </a:pPr>
            <a:endParaRPr lang="ru-RU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lnSpc>
                <a:spcPct val="90000"/>
              </a:lnSpc>
            </a:pPr>
            <a:endParaRPr lang="ru-RU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lnSpc>
                <a:spcPct val="90000"/>
              </a:lnSpc>
            </a:pP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64579" name="Rectangle 67"/>
          <p:cNvSpPr>
            <a:spLocks noChangeArrowheads="1"/>
          </p:cNvSpPr>
          <p:nvPr/>
        </p:nvSpPr>
        <p:spPr bwMode="auto">
          <a:xfrm>
            <a:off x="204537" y="1299412"/>
            <a:ext cx="11802979" cy="6432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603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десь примером на уроках обществознания будут правовые задачи или ситуации</a:t>
            </a:r>
            <a:r>
              <a:rPr kumimoji="0" lang="ru-RU" sz="2000" b="1" i="0" u="none" strike="noStrike" cap="none" normalizeH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и их </a:t>
            </a: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авовое обсуждение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3603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адание:</a:t>
            </a:r>
          </a:p>
          <a:p>
            <a:pPr marL="0" marR="0" lvl="0" indent="3603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спользуйте письма для ответов на вопросы, предлагаемые ниже.</a:t>
            </a:r>
            <a:endParaRPr kumimoji="0" lang="ru-RU" sz="200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3603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1) Указать цель писем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3603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) выразить свою точку зрения о возможности применения смертной казни как высшей меры наказания  </a:t>
            </a:r>
          </a:p>
          <a:p>
            <a:pPr marL="0" marR="0" lvl="0" indent="3603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000" dirty="0" smtClean="0">
                <a:solidFill>
                  <a:srgbClr val="181818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б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) продемонстрировать свой социальный опыт.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авовое обсуждение.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На уроке истории для развития </a:t>
            </a:r>
            <a:r>
              <a:rPr lang="ru-RU" sz="2000" dirty="0" err="1" smtClean="0">
                <a:latin typeface="Times New Roman" pitchFamily="18" charset="0"/>
                <a:cs typeface="Times New Roman" pitchFamily="18" charset="0"/>
              </a:rPr>
              <a:t>креативного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мышления можно использовать задания по историческому проектированию , пример:</a:t>
            </a:r>
          </a:p>
          <a:p>
            <a:r>
              <a:rPr lang="ru-RU" sz="20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дание:</a:t>
            </a:r>
            <a:endParaRPr lang="ru-RU" sz="20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едставьте, что М.С. Горбачев отдал бы приказ об аресте Б.Н. Ельцина, Л.М. Кравчука и С.С Шушкевича, обвинив их (весьма справедливо) в заговоре с целью свержения законной власти. Технически это было возможно — в руках Президента СССР все еще находились силовые структуры и ядерная кнопка. Как развивались бы события дальше? Попытайтесь создать свой вариант развития событий на 10 лет вперед — до конца 2001 г.</a:t>
            </a:r>
          </a:p>
          <a:p>
            <a:pPr marL="0" marR="0" lvl="0" indent="3603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rgbClr val="181818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marR="0" lvl="0" indent="3603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400" dirty="0" smtClean="0">
              <a:solidFill>
                <a:srgbClr val="1818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marR="0" lvl="0" indent="3603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8772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2AD04C8F-AB05-4497-BFF1-6646C2966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5597" name="Слайд think-cell" r:id="rId5" imgW="360" imgH="360" progId="">
              <p:embed/>
            </p:oleObj>
          </a:graphicData>
        </a:graphic>
      </p:graphicFrame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-203640" y="-11486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2400">
              <a:solidFill>
                <a:srgbClr val="00206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558837" y="4858421"/>
            <a:ext cx="45163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charset="0"/>
              </a:rPr>
              <a:t>По рейтингу эффективности системы образования, РОССИЯ занимает 14 место в мире, из за значительного отставания по уровню грамотности учащихся средней школы и способности учащихся применять на практике полученные знания и навыки  (</a:t>
            </a: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PISA)</a:t>
            </a:r>
            <a:endParaRPr lang="ru-RU" sz="1400" b="1" dirty="0">
              <a:solidFill>
                <a:schemeClr val="bg1"/>
              </a:solidFill>
              <a:latin typeface="Arial" charset="0"/>
            </a:endParaRPr>
          </a:p>
        </p:txBody>
      </p:sp>
      <p:cxnSp>
        <p:nvCxnSpPr>
          <p:cNvPr id="95" name="Прямая соединительная линия 94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613775" y="375781"/>
            <a:ext cx="108350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ФИНАНСОВАЯ ГРАМОТНОСТЬ</a:t>
            </a:r>
            <a:endParaRPr lang="ru-RU" sz="2800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5599" name="Rectangle 63"/>
          <p:cNvSpPr>
            <a:spLocks noChangeArrowheads="1"/>
          </p:cNvSpPr>
          <p:nvPr/>
        </p:nvSpPr>
        <p:spPr bwMode="auto">
          <a:xfrm>
            <a:off x="713984" y="1766170"/>
            <a:ext cx="10308920" cy="4832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имеров формирования финансовой грамотности на уроках обществознания огромное количество  :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 Составление семейного бюджета (соотношение доходов и расходов).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 Использование </a:t>
            </a:r>
            <a:r>
              <a:rPr kumimoji="0" lang="ru-RU" sz="2800" b="0" i="0" u="none" strike="noStrike" cap="none" normalizeH="0" baseline="0" dirty="0" err="1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нлайн-калькуляторов</a:t>
            </a: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для выбора кредита или депозита на сайтах банков.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 Проекты по страхованию (выбор более приемлемой </a:t>
            </a:r>
            <a:r>
              <a:rPr kumimoji="0" lang="ru-RU" sz="2800" b="0" i="0" u="none" strike="noStrike" cap="none" normalizeH="0" baseline="0" dirty="0" err="1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страховки</a:t>
            </a: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).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 Игра « Фондовая биржа».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Составление налоговой декларации и</a:t>
            </a:r>
            <a:r>
              <a:rPr kumimoji="0" lang="ru-RU" sz="2800" b="0" i="0" u="none" strike="noStrike" cap="none" normalizeH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заявлений по налоговому вычету.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9511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/>
        </p:nvSpPr>
        <p:spPr>
          <a:xfrm>
            <a:off x="1472101" y="4081369"/>
            <a:ext cx="364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088956" y="1900238"/>
            <a:ext cx="364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15303" y="516623"/>
            <a:ext cx="100920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1179096" y="1215188"/>
            <a:ext cx="3886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бота с датами, с лентой времени 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1922" name="Picture 2" descr="Лента времени по всемирной истории для 5 класса. timeline | Timetoast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4491" y="1800559"/>
            <a:ext cx="6096000" cy="4572000"/>
          </a:xfrm>
          <a:prstGeom prst="rect">
            <a:avLst/>
          </a:prstGeom>
          <a:noFill/>
        </p:spPr>
      </p:pic>
      <p:sp>
        <p:nvSpPr>
          <p:cNvPr id="81923" name="Rectangle 3"/>
          <p:cNvSpPr>
            <a:spLocks noChangeArrowheads="1"/>
          </p:cNvSpPr>
          <p:nvPr/>
        </p:nvSpPr>
        <p:spPr bwMode="auto">
          <a:xfrm>
            <a:off x="7127310" y="1490597"/>
            <a:ext cx="4296427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сторические задачи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имер: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«1613 году в России был избран первый царь из Династии Романовых. Спустя 380 лет в Российской Федерации будет принята Конституция. За 5 лет до этого в стране праздновали юбилей: 1000 с момента принятия христианства на Руси».</a:t>
            </a:r>
            <a:b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</a:b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гда случилось принятие Христианства?</a:t>
            </a: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 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утем решения примера обучающийся выяснит дату принятия христианства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 smtClean="0">
              <a:solidFill>
                <a:srgbClr val="1818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290148" y="5618747"/>
            <a:ext cx="36345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а уроках обществознания в блоке экономика - решение экономических задач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76713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/>
        </p:nvSpPr>
        <p:spPr>
          <a:xfrm>
            <a:off x="497323" y="470893"/>
            <a:ext cx="981378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стественнонаучная грамотность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3191288" y="2146575"/>
            <a:ext cx="274338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4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решение  </a:t>
            </a:r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блем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ции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861604" y="2713521"/>
            <a:ext cx="1611339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9, 2018, 2027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2971847" y="4075194"/>
            <a:ext cx="27183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6, 2015, 202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240720" y="4042203"/>
            <a:ext cx="1797465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3, 2012, 2021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58204" y="5370885"/>
            <a:ext cx="20111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</a:t>
            </a:r>
          </a:p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79873" name="Rectangle 1"/>
          <p:cNvSpPr>
            <a:spLocks noChangeArrowheads="1"/>
          </p:cNvSpPr>
          <p:nvPr/>
        </p:nvSpPr>
        <p:spPr bwMode="auto">
          <a:xfrm>
            <a:off x="325678" y="1515649"/>
            <a:ext cx="10346498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озможно формирование при изучении темы связанной с эволюцией человечества на уроках истории, а на уроках обществознания  это темы 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« Человек - </a:t>
            </a:r>
            <a:r>
              <a:rPr kumimoji="0" lang="ru-RU" sz="2400" b="0" i="0" u="none" strike="noStrike" cap="none" normalizeH="0" baseline="0" dirty="0" err="1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биосоциальное</a:t>
            </a: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существо », «Ступени развития общества»</a:t>
            </a:r>
            <a:r>
              <a:rPr kumimoji="0" lang="ru-RU" sz="2400" b="0" i="0" u="none" strike="noStrike" cap="none" normalizeH="0" dirty="0" smtClean="0">
                <a:ln>
                  <a:noFill/>
                </a:ln>
                <a:solidFill>
                  <a:srgbClr val="181818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и другие.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79877" name="Picture 5" descr="Эволюция человека: этапы и поиск переходного звена | Evolution, Prehistory,  Human specie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76091" y="2767264"/>
            <a:ext cx="7105650" cy="37899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899473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спект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70</TotalTime>
  <Words>1460</Words>
  <Application>Microsoft Office PowerPoint</Application>
  <PresentationFormat>Произвольный</PresentationFormat>
  <Paragraphs>206</Paragraphs>
  <Slides>13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Слайд think-cell</vt:lpstr>
      <vt:lpstr>Как говорил великий педагог XIX века  Константин Дмитриевич Ушинский: «Нельзя человека научить на всю жизнь, его надо научить учиться всю жизнь!».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user</cp:lastModifiedBy>
  <cp:revision>827</cp:revision>
  <cp:lastPrinted>2019-08-02T09:06:22Z</cp:lastPrinted>
  <dcterms:created xsi:type="dcterms:W3CDTF">2018-07-24T05:59:49Z</dcterms:created>
  <dcterms:modified xsi:type="dcterms:W3CDTF">2022-03-02T17:02:20Z</dcterms:modified>
</cp:coreProperties>
</file>